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05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9D-45CA-BFB7-D2BD5A3ADB0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E9D-45CA-BFB7-D2BD5A3ADB0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E9D-45CA-BFB7-D2BD5A3ADB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67221887"/>
        <c:axId val="567228607"/>
      </c:barChart>
      <c:catAx>
        <c:axId val="56722188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7228607"/>
        <c:crosses val="autoZero"/>
        <c:auto val="1"/>
        <c:lblAlgn val="ctr"/>
        <c:lblOffset val="100"/>
        <c:noMultiLvlLbl val="0"/>
      </c:catAx>
      <c:valAx>
        <c:axId val="56722860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7221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9E-4829-A733-A60FE1DEC92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9E-4829-A733-A60FE1DEC92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19E-4829-A733-A60FE1DEC9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67221887"/>
        <c:axId val="567228607"/>
      </c:barChart>
      <c:catAx>
        <c:axId val="56722188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7228607"/>
        <c:crosses val="autoZero"/>
        <c:auto val="1"/>
        <c:lblAlgn val="ctr"/>
        <c:lblOffset val="100"/>
        <c:noMultiLvlLbl val="0"/>
      </c:catAx>
      <c:valAx>
        <c:axId val="56722860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7221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A9A369-2DAE-949A-1EA4-3897066232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2711F0D-9F34-BAE0-8ABF-29F2F1AD08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F38E75-85FA-6516-281E-E0FD441F58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AF1AE0-5754-E5C2-5C5A-63F99B15CF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C9E73-F2F7-4C58-BF31-7F38D6994C8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0197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chart" Target="../charts/chart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0FFD2A-1818-69C6-49B9-3DA6008A7E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6646C5A-BB45-94C4-EFA2-C8CAE655FE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646C5A-BB45-94C4-EFA2-C8CAE655F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B66C68AE-C745-0A43-0A7D-3CC1AEC7D6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tacked Bar / 100% Stacked Bar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1A3454C-EBFF-7BB6-62E4-4457B91992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D84E0415-E4E2-561D-82FA-D6C9EA0083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24B98C22-828D-1D6C-4E1C-107A1D7E83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39C271AC-4651-AD2D-5265-C51486FE9FA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Placeholder 19">
            <a:extLst>
              <a:ext uri="{FF2B5EF4-FFF2-40B4-BE49-F238E27FC236}">
                <a16:creationId xmlns:a16="http://schemas.microsoft.com/office/drawing/2014/main" id="{6A4EBBEA-2681-8DBF-8C2B-4A7F497360F9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Chart Placeholder 19">
            <a:extLst>
              <a:ext uri="{FF2B5EF4-FFF2-40B4-BE49-F238E27FC236}">
                <a16:creationId xmlns:a16="http://schemas.microsoft.com/office/drawing/2014/main" id="{B3051AF0-F241-9E11-6986-03EEEDCBA137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229095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7</TotalTime>
  <Words>26</Words>
  <Application>Microsoft Office PowerPoint</Application>
  <PresentationFormat>Widescreen</PresentationFormat>
  <Paragraphs>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Stacked Bar / 100% Stacked 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29</cp:revision>
  <dcterms:created xsi:type="dcterms:W3CDTF">2025-07-09T10:57:17Z</dcterms:created>
  <dcterms:modified xsi:type="dcterms:W3CDTF">2025-10-22T10:01:59Z</dcterms:modified>
  <cp:category/>
</cp:coreProperties>
</file>